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</p:sldMasterIdLst>
  <p:notesMasterIdLst>
    <p:notesMasterId r:id="rId15"/>
  </p:notesMasterIdLst>
  <p:handoutMasterIdLst>
    <p:handoutMasterId r:id="rId16"/>
  </p:handoutMasterIdLst>
  <p:sldIdLst>
    <p:sldId id="2147378080" r:id="rId2"/>
    <p:sldId id="2147376533" r:id="rId3"/>
    <p:sldId id="2147474112" r:id="rId4"/>
    <p:sldId id="2147474110" r:id="rId5"/>
    <p:sldId id="2147474113" r:id="rId6"/>
    <p:sldId id="2147474111" r:id="rId7"/>
    <p:sldId id="259" r:id="rId8"/>
    <p:sldId id="2147474105" r:id="rId9"/>
    <p:sldId id="2147474107" r:id="rId10"/>
    <p:sldId id="2147376559" r:id="rId11"/>
    <p:sldId id="2147474109" r:id="rId12"/>
    <p:sldId id="2147474108" r:id="rId13"/>
    <p:sldId id="2147474106" r:id="rId1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EC70"/>
    <a:srgbClr val="00632C"/>
    <a:srgbClr val="006837"/>
    <a:srgbClr val="D3FFE0"/>
    <a:srgbClr val="F2F2F2"/>
    <a:srgbClr val="07693B"/>
    <a:srgbClr val="70AD47"/>
    <a:srgbClr val="192C4F"/>
    <a:srgbClr val="3B5927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75" autoAdjust="0"/>
    <p:restoredTop sz="89744" autoAdjust="0"/>
  </p:normalViewPr>
  <p:slideViewPr>
    <p:cSldViewPr snapToGrid="0">
      <p:cViewPr varScale="1">
        <p:scale>
          <a:sx n="74" d="100"/>
          <a:sy n="74" d="100"/>
        </p:scale>
        <p:origin x="1114" y="67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8649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134" y="1"/>
            <a:ext cx="303864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EB329D-7995-4CA2-961F-8E3440B879DC}" type="datetimeFigureOut">
              <a:rPr lang="en-US" smtClean="0"/>
              <a:t>4/23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6"/>
            <a:ext cx="3038649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134" y="8829676"/>
            <a:ext cx="303864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AE5BE-98B5-4CAA-90AF-45688BDE6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863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C67D1BDE-36AE-45B7-94C3-EF84761AE801}" type="datetimeFigureOut">
              <a:rPr lang="en-US" smtClean="0"/>
              <a:pPr/>
              <a:t>4/23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6888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892"/>
            <a:ext cx="5608320" cy="3660458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8"/>
            <a:ext cx="3037840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D4231D4B-FF51-4180-A1A8-B36B89AF261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062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231D4B-FF51-4180-A1A8-B36B89AF26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4128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231D4B-FF51-4180-A1A8-B36B89AF2619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740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P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231D4B-FF51-4180-A1A8-B36B89AF2619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860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9BE90C-BF95-5F5C-DE8F-070BFDE466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8D1277-68F1-2D98-0C2F-81290D039B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46E6A6-87F0-A2A6-D7E5-EB19F4C5BF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P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DACBAC-AD6A-9B5F-3F27-33DC84C9DF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231D4B-FF51-4180-A1A8-B36B89AF2619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0322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231D4B-FF51-4180-A1A8-B36B89AF2619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566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5" Type="http://schemas.openxmlformats.org/officeDocument/2006/relationships/image" Target="../media/image2.png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image" Target="../media/image2.png"/><Relationship Id="rId5" Type="http://schemas.openxmlformats.org/officeDocument/2006/relationships/tags" Target="../tags/tag90.xml"/><Relationship Id="rId10" Type="http://schemas.openxmlformats.org/officeDocument/2006/relationships/image" Target="../media/image1.emf"/><Relationship Id="rId4" Type="http://schemas.openxmlformats.org/officeDocument/2006/relationships/tags" Target="../tags/tag89.xml"/><Relationship Id="rId9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5" Type="http://schemas.openxmlformats.org/officeDocument/2006/relationships/tags" Target="../tags/tag97.xml"/><Relationship Id="rId15" Type="http://schemas.openxmlformats.org/officeDocument/2006/relationships/image" Target="../media/image2.png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image" Target="../media/image1.emf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1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10" Type="http://schemas.openxmlformats.org/officeDocument/2006/relationships/image" Target="../media/image2.png"/><Relationship Id="rId4" Type="http://schemas.openxmlformats.org/officeDocument/2006/relationships/tags" Target="../tags/tag117.xml"/><Relationship Id="rId9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image" Target="../media/image5.emf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3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3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10" Type="http://schemas.openxmlformats.org/officeDocument/2006/relationships/image" Target="../media/image5.emf"/><Relationship Id="rId4" Type="http://schemas.openxmlformats.org/officeDocument/2006/relationships/tags" Target="../tags/tag52.xml"/><Relationship Id="rId9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image" Target="../media/image2.png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1.emf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oleObject" Target="../embeddings/oleObject9.bin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9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BA3B5CA-208F-4FF9-8A85-8EFDBA13E6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41964" y="119428"/>
            <a:ext cx="8936182" cy="6676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5E1454-38BA-4839-A550-1BA8EF4724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7688" y="1122363"/>
            <a:ext cx="5174239" cy="365125"/>
          </a:xfrm>
        </p:spPr>
        <p:txBody>
          <a:bodyPr anchor="b">
            <a:normAutofit/>
          </a:bodyPr>
          <a:lstStyle>
            <a:lvl1pPr algn="l"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5899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id="{4621481D-27E5-4F87-B45B-41DC18907499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id="{29C45080-F0A3-4994-8BE9-0C272784001F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0324EE6-02E1-4789-BCBA-CEC16E7B160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13EBB81D-AD5E-48DE-AE3A-DF3177C529E8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7600" y="75600"/>
            <a:ext cx="886632" cy="8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647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2. Slide Title">
            <a:extLst>
              <a:ext uri="{FF2B5EF4-FFF2-40B4-BE49-F238E27FC236}">
                <a16:creationId xmlns:a16="http://schemas.microsoft.com/office/drawing/2014/main" id="{9D2B658E-72DB-4280-848C-997D8D90A82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521970"/>
            <a:ext cx="10160065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62324E8-6694-4340-9960-C47E13D046FB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5886F1D7-5A41-44BD-936D-21AD4970750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7600" y="75600"/>
            <a:ext cx="886632" cy="8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9871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72" imgH="588" progId="TCLayout.ActiveDocument.1">
                  <p:embed/>
                </p:oleObj>
              </mc:Choice>
              <mc:Fallback>
                <p:oleObj name="think-cell Slide" r:id="rId13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7EDB617A-2990-4053-9520-0F5D1D9762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726724E-39EB-4427-A8AA-44412DA7721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Right">
            <a:extLst>
              <a:ext uri="{FF2B5EF4-FFF2-40B4-BE49-F238E27FC236}">
                <a16:creationId xmlns:a16="http://schemas.microsoft.com/office/drawing/2014/main" id="{283AA53C-33A4-4DA5-9E72-12C2883CAF2A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id="{D0F7ADBC-6D86-4EAD-85BB-DADD184C60B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6E3AEA7-76E4-4DBB-B219-BB82D650A1EE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A2F0D33D-64A5-41AE-8144-C93AFE07787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7600" y="75600"/>
            <a:ext cx="886632" cy="8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099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A1B6220-01F0-438D-8C94-91F67AF369FA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AAD7185-9C2E-470E-957D-B21838859294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0201B559-53A5-4D8D-8C98-7ED52ACCCCB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BA93093-D8C7-45C3-AAB7-AF77483A929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B98E278F-A8A2-405F-BBC6-5E087755839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7600" y="75600"/>
            <a:ext cx="886632" cy="8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3186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21970"/>
            <a:ext cx="10160065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C81710A1-E76E-4D4C-8BF7-33FCC7414A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4A798E0-E4C0-4608-98C8-90E1F413EFC6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764F4EC-8126-41DB-9F1E-559D1F1F1FCC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B5E9E7F6-4282-482A-80B7-29A8C399209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7600" y="75600"/>
            <a:ext cx="886632" cy="8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7605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73642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D0F35D1A-B58F-496D-8B4F-202C3FB981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427" y="2233287"/>
            <a:ext cx="2337147" cy="22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8423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8C41C39-2FEF-42C8-872A-60CDD11B47A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44712" y="1140817"/>
            <a:ext cx="2902576" cy="302131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8F0987D-FE08-49C9-B047-79C89959B8A9}"/>
              </a:ext>
            </a:extLst>
          </p:cNvPr>
          <p:cNvSpPr txBox="1"/>
          <p:nvPr userDrawn="1"/>
        </p:nvSpPr>
        <p:spPr>
          <a:xfrm>
            <a:off x="3810000" y="4221246"/>
            <a:ext cx="45720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s-AF" sz="3600" b="1" dirty="0">
                <a:solidFill>
                  <a:srgbClr val="006837"/>
                </a:solidFill>
              </a:rPr>
              <a:t>خیبر پښتونخوا</a:t>
            </a:r>
            <a:endParaRPr lang="en-US" sz="3600" b="1" dirty="0">
              <a:solidFill>
                <a:srgbClr val="006837"/>
              </a:solidFill>
            </a:endParaRPr>
          </a:p>
          <a:p>
            <a:pPr algn="ctr"/>
            <a:r>
              <a:rPr lang="en-US" sz="2000" b="1" dirty="0">
                <a:solidFill>
                  <a:srgbClr val="006837"/>
                </a:solidFill>
                <a:latin typeface="+mj-lt"/>
                <a:cs typeface="Aldhabi" panose="020B0604020202020204" pitchFamily="2" charset="-78"/>
              </a:rPr>
              <a:t>Khyber Pakhtunkhwa</a:t>
            </a:r>
          </a:p>
        </p:txBody>
      </p:sp>
    </p:spTree>
    <p:extLst>
      <p:ext uri="{BB962C8B-B14F-4D97-AF65-F5344CB8AC3E}">
        <p14:creationId xmlns:p14="http://schemas.microsoft.com/office/powerpoint/2010/main" val="29298823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653FE-CE67-4C98-8B89-4DBA96DF8C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6280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8438396E-C857-4AF2-8327-83EEA9BA0D8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400" y="259200"/>
            <a:ext cx="1647132" cy="15984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2BB598-2691-4D01-A539-1D662EC06D72}"/>
              </a:ext>
            </a:extLst>
          </p:cNvPr>
          <p:cNvSpPr/>
          <p:nvPr userDrawn="1"/>
        </p:nvSpPr>
        <p:spPr>
          <a:xfrm>
            <a:off x="3176" y="2423161"/>
            <a:ext cx="12188824" cy="443484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BE5ED7-62AC-442E-9D78-2775559457BD}"/>
              </a:ext>
            </a:extLst>
          </p:cNvPr>
          <p:cNvSpPr/>
          <p:nvPr userDrawn="1"/>
        </p:nvSpPr>
        <p:spPr>
          <a:xfrm>
            <a:off x="3176" y="2171700"/>
            <a:ext cx="12188824" cy="186085"/>
          </a:xfrm>
          <a:prstGeom prst="rect">
            <a:avLst/>
          </a:prstGeom>
          <a:solidFill>
            <a:srgbClr val="C3922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FFFFFF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CDF1E86B-230A-4AE3-92EE-18802C00ED66}"/>
              </a:ext>
            </a:extLst>
          </p:cNvPr>
          <p:cNvSpPr txBox="1">
            <a:spLocks/>
          </p:cNvSpPr>
          <p:nvPr userDrawn="1"/>
        </p:nvSpPr>
        <p:spPr>
          <a:xfrm>
            <a:off x="547688" y="903956"/>
            <a:ext cx="4502836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0000"/>
                </a:solidFill>
              </a:rPr>
              <a:t>Government of Khyber Pakhtunkhwa</a:t>
            </a:r>
            <a:endParaRPr lang="en-U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7993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0315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>
                <a:solidFill>
                  <a:srgbClr val="000000"/>
                </a:solidFill>
              </a:rPr>
              <a:t>Source: …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2707EA4-1F6C-4762-AE3D-FA62C2B21D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735" y="30841"/>
            <a:ext cx="3844800" cy="123111"/>
          </a:xfr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 smtClean="0">
                <a:cs typeface="+mn-cs"/>
              </a:defRPr>
            </a:lvl1pPr>
            <a:lvl2pPr marL="0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PK" dirty="0"/>
            </a:lvl5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899628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944911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404141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78529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34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2429129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5C41599A-8B2D-4A1E-BD19-DCE48FA92F66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D19401A5-72E5-4C46-8FAA-8600CAC4127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870C63D-FD24-41BF-809C-E8F87ED6D2B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7600" y="75600"/>
            <a:ext cx="886632" cy="8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3720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  <a:endParaRPr sz="800" dirty="0">
              <a:solidFill>
                <a:srgbClr val="000000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BFAF0B23-BF46-42E3-9C8D-062896DC1F39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D6D9AAC-8287-4317-918C-6755B5E17803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4BCEE20B-068B-4409-9929-C9F6EFDCE7C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04B50E07-5CF6-4FA4-80C0-5A97640377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Logo&#10;&#10;Description automatically generated">
            <a:extLst>
              <a:ext uri="{FF2B5EF4-FFF2-40B4-BE49-F238E27FC236}">
                <a16:creationId xmlns:a16="http://schemas.microsoft.com/office/drawing/2014/main" id="{6B556262-0654-4189-A675-675AC9072300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7600" y="75600"/>
            <a:ext cx="886632" cy="8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365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9" Type="http://schemas.openxmlformats.org/officeDocument/2006/relationships/tags" Target="../tags/tag20.xml"/><Relationship Id="rId21" Type="http://schemas.openxmlformats.org/officeDocument/2006/relationships/tags" Target="../tags/tag2.xml"/><Relationship Id="rId34" Type="http://schemas.openxmlformats.org/officeDocument/2006/relationships/tags" Target="../tags/tag15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tags" Target="../tags/tag1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>
                <a:solidFill>
                  <a:srgbClr val="000000"/>
                </a:solidFill>
              </a:rPr>
              <a:t>Above Chart Exhibit Title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b="0">
                <a:solidFill>
                  <a:srgbClr val="000000"/>
                </a:solidFill>
              </a:rPr>
              <a:t>Unit of Measure</a:t>
            </a: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6017DE47-4B7E-4602-A5D8-84F1D054B68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E773DEB-38A3-4D4F-8F3A-7DED71AB991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BBD940B-C7B3-42F9-A317-3A6409A75F4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26E9D6E-D5B2-4063-BC7C-9B64A65F12D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D75199AB-4672-4D43-A550-E0AD095E38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C54E0345-E77E-4F4E-A6DE-370FD26C58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6EF73E9A-1D4C-4C71-AC42-915A9A82D8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293BE944-4FB1-49E4-A46A-DFB832FADF2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C824262-8989-4B2D-8DBF-135E9E168DBC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F6423FB4-50F6-480B-81B0-87D1466FC3D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F5CAFF64-59BF-4FFA-A7EC-6C6AB587CFF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16DCA56E-1BE7-44F5-B451-C39F813FE2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115CD1D8-A840-4C47-8BAE-4755ADB1023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98251E0D-E6AA-48B7-9F7E-F065654B041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BCBBD5C-74E4-49E5-AB9C-046CC11FD95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7671A9-71DB-43E2-9D83-DE6CB521F4F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4E3E41D-ACEE-448A-9712-FCB4DC84E26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A14524F-36B3-4640-BB23-FC33343843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6B313E13-C478-43A9-8722-8D490DFC9F2B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346CEEAD-EB0F-4654-9B74-E9B88E15E92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1CCE464-A935-45D5-9DD2-6FD002E2E10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06CB200-3A1A-467F-8166-1307ABD2F9D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3F57F0F-CFB6-4459-98C3-704A188C168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6A70474-5B3B-4D05-B276-92201F90794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47F3DF-D57B-42D9-97F5-DF93588DD45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B7E58BBA-E347-43CE-AC2B-53B1091EB4F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08C970BA-BB1D-41DF-BB7E-F37715E023C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BB43699A-A93F-40F4-B94F-5ACC3FC7A2B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AAA3D2-18E4-48C0-BE83-DB21A10DD20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F691D58-858A-4AA0-AF95-9DAF892CEC9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DACF4A1-1081-4AC1-9D47-12E01E2521A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1B52631-B18F-4E3B-9E20-D5DE506756B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0074E8A9-58EF-400E-9311-7E77FC619AA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AB53C7B-2604-409C-ACAB-B85D0279EDA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DABF097C-99AD-454B-88C9-800E219929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4348013-5D9A-49E0-853F-523527ACCE2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F54CB71-C033-4B3C-B037-1A95FC3C56A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A9A3FC63-A72C-490E-BC2F-EB378B72661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8ABE5E40-BFBB-4D07-A6EF-7D8CAAAD21B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0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FD91D3C3-DBFD-4ADE-B7AB-ACC49A6009A5}"/>
              </a:ext>
            </a:extLst>
          </p:cNvPr>
          <p:cNvCxnSpPr>
            <a:cxnSpLocks/>
          </p:cNvCxnSpPr>
          <p:nvPr userDrawn="1"/>
        </p:nvCxnSpPr>
        <p:spPr>
          <a:xfrm>
            <a:off x="554736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2" name="Picture 151" descr="Logo&#10;&#10;Description automatically generated">
            <a:extLst>
              <a:ext uri="{FF2B5EF4-FFF2-40B4-BE49-F238E27FC236}">
                <a16:creationId xmlns:a16="http://schemas.microsoft.com/office/drawing/2014/main" id="{A684AF6D-27E6-4C02-A0F4-15241447239D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7600" y="75600"/>
            <a:ext cx="886632" cy="8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34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735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5FCDB70-7EB0-4EEE-AE40-4F2E95F16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123" y="2784114"/>
            <a:ext cx="11847877" cy="553998"/>
          </a:xfrm>
        </p:spPr>
        <p:txBody>
          <a:bodyPr/>
          <a:lstStyle/>
          <a:p>
            <a:r>
              <a:rPr lang="en-US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bject of the Meeting</a:t>
            </a:r>
            <a:endParaRPr lang="en-US" sz="3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F0E7544-93E8-4E6D-B08D-1937D9C6C47A}"/>
              </a:ext>
            </a:extLst>
          </p:cNvPr>
          <p:cNvSpPr/>
          <p:nvPr/>
        </p:nvSpPr>
        <p:spPr>
          <a:xfrm>
            <a:off x="493507" y="1159499"/>
            <a:ext cx="50812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ef Minister Secretariat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7CD3FF7C-1DD7-4D31-9A2E-D114D8657270}"/>
              </a:ext>
            </a:extLst>
          </p:cNvPr>
          <p:cNvSpPr txBox="1">
            <a:spLocks/>
          </p:cNvSpPr>
          <p:nvPr/>
        </p:nvSpPr>
        <p:spPr>
          <a:xfrm>
            <a:off x="387514" y="5943733"/>
            <a:ext cx="1037456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400" b="1" kern="1200" spc="0" baseline="0" dirty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21 April 2025</a:t>
            </a: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2ED0E6F1-63F2-ED4A-F9E3-39A4B43FC4A1}"/>
              </a:ext>
            </a:extLst>
          </p:cNvPr>
          <p:cNvSpPr txBox="1">
            <a:spLocks/>
          </p:cNvSpPr>
          <p:nvPr/>
        </p:nvSpPr>
        <p:spPr>
          <a:xfrm>
            <a:off x="387514" y="4150808"/>
            <a:ext cx="1037456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400" b="1" kern="1200" spc="0" baseline="0" dirty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Department’s Name</a:t>
            </a:r>
            <a:endParaRPr kumimoji="0" lang="en-US" sz="2000" b="1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9997019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43010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D2A693-5B3B-961E-DEA1-4A0B49862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BF4A61-652D-FA20-DAD7-F858B5227C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hievements of Department (Optional - if any need to be shown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354876-97AA-B0DC-51D4-E478623C29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5288DA0-4B00-F03F-53DF-BE8CC1D3ED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5909084"/>
              </p:ext>
            </p:extLst>
          </p:nvPr>
        </p:nvGraphicFramePr>
        <p:xfrm>
          <a:off x="554734" y="1128739"/>
          <a:ext cx="11091834" cy="31192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2961">
                  <a:extLst>
                    <a:ext uri="{9D8B030D-6E8A-4147-A177-3AD203B41FA5}">
                      <a16:colId xmlns:a16="http://schemas.microsoft.com/office/drawing/2014/main" val="1382312674"/>
                    </a:ext>
                  </a:extLst>
                </a:gridCol>
                <a:gridCol w="2844317">
                  <a:extLst>
                    <a:ext uri="{9D8B030D-6E8A-4147-A177-3AD203B41FA5}">
                      <a16:colId xmlns:a16="http://schemas.microsoft.com/office/drawing/2014/main" val="3335853398"/>
                    </a:ext>
                  </a:extLst>
                </a:gridCol>
                <a:gridCol w="1848639">
                  <a:extLst>
                    <a:ext uri="{9D8B030D-6E8A-4147-A177-3AD203B41FA5}">
                      <a16:colId xmlns:a16="http://schemas.microsoft.com/office/drawing/2014/main" val="2113608896"/>
                    </a:ext>
                  </a:extLst>
                </a:gridCol>
                <a:gridCol w="1848639">
                  <a:extLst>
                    <a:ext uri="{9D8B030D-6E8A-4147-A177-3AD203B41FA5}">
                      <a16:colId xmlns:a16="http://schemas.microsoft.com/office/drawing/2014/main" val="1112682075"/>
                    </a:ext>
                  </a:extLst>
                </a:gridCol>
                <a:gridCol w="1848639">
                  <a:extLst>
                    <a:ext uri="{9D8B030D-6E8A-4147-A177-3AD203B41FA5}">
                      <a16:colId xmlns:a16="http://schemas.microsoft.com/office/drawing/2014/main" val="105680794"/>
                    </a:ext>
                  </a:extLst>
                </a:gridCol>
                <a:gridCol w="1848639">
                  <a:extLst>
                    <a:ext uri="{9D8B030D-6E8A-4147-A177-3AD203B41FA5}">
                      <a16:colId xmlns:a16="http://schemas.microsoft.com/office/drawing/2014/main" val="2410462389"/>
                    </a:ext>
                  </a:extLst>
                </a:gridCol>
              </a:tblGrid>
              <a:tr h="89256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S.No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itiative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bjecti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Key Achiev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mpa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atu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18735984"/>
                  </a:ext>
                </a:extLst>
              </a:tr>
              <a:tr h="74223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1887846"/>
                  </a:ext>
                </a:extLst>
              </a:tr>
              <a:tr h="74223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6353900"/>
                  </a:ext>
                </a:extLst>
              </a:tr>
              <a:tr h="74223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34651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5215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9803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A2755E-7E11-A704-0880-3FB8486E4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Instruction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2CFEAC-A87C-C302-B5CD-0466AEC12F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4737" y="1185873"/>
            <a:ext cx="10803074" cy="5124480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Presentations must be </a:t>
            </a:r>
            <a:r>
              <a:rPr lang="en-US" sz="2400" b="1" dirty="0"/>
              <a:t>precise and agenda-focused</a:t>
            </a:r>
            <a:r>
              <a:rPr lang="en-US" sz="2400" dirty="0"/>
              <a:t> (no unrelated slides)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All presentations would be </a:t>
            </a:r>
            <a:r>
              <a:rPr lang="en-US" sz="2400" b="1" dirty="0"/>
              <a:t>vetted by the Sponsor DS</a:t>
            </a:r>
            <a:r>
              <a:rPr lang="en-US" sz="2400" dirty="0"/>
              <a:t> before submissi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Use </a:t>
            </a:r>
            <a:r>
              <a:rPr lang="en-US" sz="2400" b="1" dirty="0"/>
              <a:t>tables and bullet points only</a:t>
            </a:r>
            <a:r>
              <a:rPr lang="en-US" sz="2400" dirty="0"/>
              <a:t> (no lengthy paragraphs)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Focus on </a:t>
            </a:r>
            <a:r>
              <a:rPr lang="en-US" sz="2400" b="1" dirty="0"/>
              <a:t>current issue, status, and decision required</a:t>
            </a:r>
            <a:r>
              <a:rPr lang="en-US" sz="2400" dirty="0"/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Avoid general background—include </a:t>
            </a:r>
            <a:r>
              <a:rPr lang="en-US" sz="2400" b="1" dirty="0"/>
              <a:t>only what is essential</a:t>
            </a:r>
            <a:r>
              <a:rPr lang="en-US" sz="2400" dirty="0"/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Any </a:t>
            </a:r>
            <a:r>
              <a:rPr lang="en-US" sz="2400" b="1" dirty="0"/>
              <a:t>achievements or additional information</a:t>
            </a:r>
            <a:r>
              <a:rPr lang="en-US" sz="2400" dirty="0"/>
              <a:t> to be in </a:t>
            </a:r>
            <a:r>
              <a:rPr lang="en-US" sz="2400" b="1" dirty="0"/>
              <a:t>backup slides</a:t>
            </a:r>
            <a:r>
              <a:rPr lang="en-US" sz="2400" dirty="0"/>
              <a:t> only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Include </a:t>
            </a:r>
            <a:r>
              <a:rPr lang="en-US" sz="2400" b="1" dirty="0"/>
              <a:t>mandatory slide: “Decisions Required from CM”</a:t>
            </a:r>
            <a:r>
              <a:rPr lang="en-US" sz="2400" dirty="0"/>
              <a:t> (clear, actionable points). Present </a:t>
            </a:r>
            <a:r>
              <a:rPr lang="en-US" sz="2400" b="1" dirty="0"/>
              <a:t>clear options </a:t>
            </a:r>
            <a:r>
              <a:rPr lang="en-US" sz="2400" dirty="0"/>
              <a:t>with a recommended choic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Include </a:t>
            </a:r>
            <a:r>
              <a:rPr lang="en-US" sz="2400" b="1" dirty="0"/>
              <a:t>mandatory slide: “Update on CM’s Previous Directives / Instructions”</a:t>
            </a:r>
            <a:r>
              <a:rPr lang="en-US" sz="2400" dirty="0"/>
              <a:t> (status of compliance)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Always mention </a:t>
            </a:r>
            <a:r>
              <a:rPr lang="en-US" sz="2400" b="1" dirty="0"/>
              <a:t>financial implications </a:t>
            </a:r>
            <a:r>
              <a:rPr lang="en-US" sz="2400" dirty="0"/>
              <a:t>(if any)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Ensure </a:t>
            </a:r>
            <a:r>
              <a:rPr lang="en-US" sz="2400" b="1" dirty="0"/>
              <a:t>data-driven content (numbers, timelines, impact)</a:t>
            </a:r>
            <a:r>
              <a:rPr lang="en-US" sz="2400" dirty="0"/>
              <a:t>.</a:t>
            </a:r>
            <a:endParaRPr lang="en-US" sz="8000" dirty="0"/>
          </a:p>
        </p:txBody>
      </p:sp>
    </p:spTree>
    <p:extLst>
      <p:ext uri="{BB962C8B-B14F-4D97-AF65-F5344CB8AC3E}">
        <p14:creationId xmlns:p14="http://schemas.microsoft.com/office/powerpoint/2010/main" val="1025039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CB656-6220-439A-B439-F820F351E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103152"/>
            <a:ext cx="10160065" cy="731520"/>
          </a:xfrm>
        </p:spPr>
        <p:txBody>
          <a:bodyPr/>
          <a:lstStyle/>
          <a:p>
            <a:r>
              <a:rPr lang="en-GB" dirty="0"/>
              <a:t>Overview</a:t>
            </a:r>
            <a:endParaRPr lang="en-PK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DD613A1-27CC-2C09-EBF6-78A8FC9C2D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0499219"/>
              </p:ext>
            </p:extLst>
          </p:nvPr>
        </p:nvGraphicFramePr>
        <p:xfrm>
          <a:off x="985252" y="1405465"/>
          <a:ext cx="9729550" cy="3288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3026">
                  <a:extLst>
                    <a:ext uri="{9D8B030D-6E8A-4147-A177-3AD203B41FA5}">
                      <a16:colId xmlns:a16="http://schemas.microsoft.com/office/drawing/2014/main" val="2876605340"/>
                    </a:ext>
                  </a:extLst>
                </a:gridCol>
                <a:gridCol w="8316524">
                  <a:extLst>
                    <a:ext uri="{9D8B030D-6E8A-4147-A177-3AD203B41FA5}">
                      <a16:colId xmlns:a16="http://schemas.microsoft.com/office/drawing/2014/main" val="1518117845"/>
                    </a:ext>
                  </a:extLst>
                </a:gridCol>
              </a:tblGrid>
              <a:tr h="321713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S.N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861742"/>
                  </a:ext>
                </a:extLst>
              </a:tr>
              <a:tr h="48715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1" dirty="0"/>
                        <a:t>Introduction and Agend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1616268"/>
                  </a:ext>
                </a:extLst>
              </a:tr>
              <a:tr h="48715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1" dirty="0"/>
                        <a:t>Current status/progr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0105124"/>
                  </a:ext>
                </a:extLst>
              </a:tr>
              <a:tr h="48715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1" dirty="0"/>
                        <a:t>Other Poi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6456189"/>
                  </a:ext>
                </a:extLst>
              </a:tr>
              <a:tr h="48715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1" dirty="0"/>
                        <a:t>Implementation pl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0270560"/>
                  </a:ext>
                </a:extLst>
              </a:tr>
              <a:tr h="48715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1" dirty="0"/>
                        <a:t>Decision Points (including issues and way forwar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5107168"/>
                  </a:ext>
                </a:extLst>
              </a:tr>
              <a:tr h="48715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1" dirty="0"/>
                        <a:t>Critical Penden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77703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34245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611C0E-9E59-1C4E-D689-6A34EC55E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and Agenda of the mee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40428E-1A3E-3DDF-6C2F-B2716C55C6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52DC0CA-CED2-9781-9231-7F55D0158C8A}"/>
              </a:ext>
            </a:extLst>
          </p:cNvPr>
          <p:cNvSpPr txBox="1"/>
          <p:nvPr/>
        </p:nvSpPr>
        <p:spPr>
          <a:xfrm>
            <a:off x="469232" y="1768642"/>
            <a:ext cx="11069052" cy="3513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FontTx/>
              <a:buChar char="-"/>
            </a:pPr>
            <a:r>
              <a:rPr lang="en-US" sz="1600" dirty="0"/>
              <a:t>Brief context and introduction of the meeting scheduled</a:t>
            </a:r>
          </a:p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071356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7CCD2D-C8C8-08C3-1046-CEF3C94D96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2C72A8-152B-559F-EDE6-0DDEA89BA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atus &amp; Progres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DAC8D20-29A6-3A4F-5CBF-8805BF6087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1908394"/>
              </p:ext>
            </p:extLst>
          </p:nvPr>
        </p:nvGraphicFramePr>
        <p:xfrm>
          <a:off x="554736" y="1200928"/>
          <a:ext cx="11055736" cy="32026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3934">
                  <a:extLst>
                    <a:ext uri="{9D8B030D-6E8A-4147-A177-3AD203B41FA5}">
                      <a16:colId xmlns:a16="http://schemas.microsoft.com/office/drawing/2014/main" val="3550413019"/>
                    </a:ext>
                  </a:extLst>
                </a:gridCol>
                <a:gridCol w="2763934">
                  <a:extLst>
                    <a:ext uri="{9D8B030D-6E8A-4147-A177-3AD203B41FA5}">
                      <a16:colId xmlns:a16="http://schemas.microsoft.com/office/drawing/2014/main" val="1408863762"/>
                    </a:ext>
                  </a:extLst>
                </a:gridCol>
                <a:gridCol w="2763934">
                  <a:extLst>
                    <a:ext uri="{9D8B030D-6E8A-4147-A177-3AD203B41FA5}">
                      <a16:colId xmlns:a16="http://schemas.microsoft.com/office/drawing/2014/main" val="835714114"/>
                    </a:ext>
                  </a:extLst>
                </a:gridCol>
                <a:gridCol w="2763934">
                  <a:extLst>
                    <a:ext uri="{9D8B030D-6E8A-4147-A177-3AD203B41FA5}">
                      <a16:colId xmlns:a16="http://schemas.microsoft.com/office/drawing/2014/main" val="3162616477"/>
                    </a:ext>
                  </a:extLst>
                </a:gridCol>
              </a:tblGrid>
              <a:tr h="64052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Compon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Current Statu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Progress (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Key Upda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29886009"/>
                  </a:ext>
                </a:extLst>
              </a:tr>
              <a:tr h="64052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Policy / Approv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Approved / Pend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dirty="0"/>
                        <a:t>100% / X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Notification issu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5062004"/>
                  </a:ext>
                </a:extLst>
              </a:tr>
              <a:tr h="64052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Financi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Funds released / Ga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/>
                        <a:t>X% utiliz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Rs X disburs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4806896"/>
                  </a:ext>
                </a:extLst>
              </a:tr>
              <a:tr h="64052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Imple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Ongoing / Complet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dirty="0"/>
                        <a:t>X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X districts cover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3233127"/>
                  </a:ext>
                </a:extLst>
              </a:tr>
              <a:tr h="64052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Institut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Setup done / In progres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dirty="0"/>
                        <a:t>X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Teams notifi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20340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53466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65EA8-91BB-D856-9969-E9C6AD6C4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y other necessary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F3454B-AE66-07BB-87F5-9D9BE7CC39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68F4EE-BEDE-7A1C-3AA9-CDFB9429796B}"/>
              </a:ext>
            </a:extLst>
          </p:cNvPr>
          <p:cNvSpPr txBox="1"/>
          <p:nvPr/>
        </p:nvSpPr>
        <p:spPr>
          <a:xfrm>
            <a:off x="770020" y="2009274"/>
            <a:ext cx="7447547" cy="176864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dirty="0"/>
              <a:t>Dept may add further slides where necessary but ensure they are relevant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445686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236718-47CB-06E9-773E-932D7586FB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825C4A-6EB7-ABD2-A6CE-51EA122E2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atus &amp; Progr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8A7160-DFFB-5B14-F4A6-9A48551BB51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4737" y="1185873"/>
            <a:ext cx="10803074" cy="1369606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Precise slides and not include any superfluous slides which are not related to the meeting agend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BA17F5-8F8A-09BB-5D7A-1A54E058308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4400" b="1" dirty="0">
                <a:solidFill>
                  <a:schemeClr val="bg1"/>
                </a:solidFill>
              </a:rPr>
              <a:t>Implementation Plan</a:t>
            </a:r>
          </a:p>
        </p:txBody>
      </p:sp>
    </p:spTree>
    <p:extLst>
      <p:ext uri="{BB962C8B-B14F-4D97-AF65-F5344CB8AC3E}">
        <p14:creationId xmlns:p14="http://schemas.microsoft.com/office/powerpoint/2010/main" val="1723960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045190" y="334369"/>
            <a:ext cx="559435" cy="377190"/>
          </a:xfrm>
          <a:prstGeom prst="rect">
            <a:avLst/>
          </a:prstGeom>
        </p:spPr>
        <p:txBody>
          <a:bodyPr vert="horz" wrap="square" lIns="0" tIns="361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85"/>
              </a:spcBef>
            </a:pPr>
            <a:r>
              <a:rPr sz="1000" b="1" spc="-5" dirty="0">
                <a:latin typeface="Arial"/>
                <a:cs typeface="Arial"/>
              </a:rPr>
              <a:t>C</a:t>
            </a:r>
            <a:r>
              <a:rPr sz="1000" b="1" spc="-10" dirty="0">
                <a:latin typeface="Arial"/>
                <a:cs typeface="Arial"/>
              </a:rPr>
              <a:t>r</a:t>
            </a:r>
            <a:r>
              <a:rPr sz="1000" b="1" spc="-5" dirty="0">
                <a:latin typeface="Arial"/>
                <a:cs typeface="Arial"/>
              </a:rPr>
              <a:t>itic</a:t>
            </a:r>
            <a:r>
              <a:rPr sz="1000" b="1" spc="-15" dirty="0">
                <a:latin typeface="Arial"/>
                <a:cs typeface="Arial"/>
              </a:rPr>
              <a:t>a</a:t>
            </a:r>
            <a:r>
              <a:rPr sz="1000" b="1" spc="-5" dirty="0">
                <a:latin typeface="Arial"/>
                <a:cs typeface="Arial"/>
              </a:rPr>
              <a:t>l</a:t>
            </a:r>
            <a:r>
              <a:rPr sz="1000" b="1" spc="-10" dirty="0">
                <a:latin typeface="Arial"/>
                <a:cs typeface="Arial"/>
              </a:rPr>
              <a:t>l</a:t>
            </a:r>
            <a:r>
              <a:rPr sz="1000" b="1" spc="-5" dirty="0">
                <a:latin typeface="Arial"/>
                <a:cs typeface="Arial"/>
              </a:rPr>
              <a:t>y</a:t>
            </a:r>
            <a:endParaRPr sz="1000">
              <a:latin typeface="Arial"/>
              <a:cs typeface="Arial"/>
            </a:endParaRPr>
          </a:p>
          <a:p>
            <a:pPr marL="47625">
              <a:lnSpc>
                <a:spcPct val="100000"/>
              </a:lnSpc>
              <a:spcBef>
                <a:spcPts val="185"/>
              </a:spcBef>
            </a:pPr>
            <a:r>
              <a:rPr sz="1000" b="1" spc="-10" dirty="0">
                <a:latin typeface="Arial"/>
                <a:cs typeface="Arial"/>
              </a:rPr>
              <a:t>Delayed</a:t>
            </a:r>
            <a:endParaRPr sz="10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445752" y="57911"/>
            <a:ext cx="277495" cy="271780"/>
          </a:xfrm>
          <a:custGeom>
            <a:avLst/>
            <a:gdLst/>
            <a:ahLst/>
            <a:cxnLst/>
            <a:rect l="l" t="t" r="r" b="b"/>
            <a:pathLst>
              <a:path w="277495" h="271780">
                <a:moveTo>
                  <a:pt x="277368" y="0"/>
                </a:moveTo>
                <a:lnTo>
                  <a:pt x="0" y="0"/>
                </a:lnTo>
                <a:lnTo>
                  <a:pt x="0" y="271272"/>
                </a:lnTo>
                <a:lnTo>
                  <a:pt x="277368" y="271272"/>
                </a:lnTo>
                <a:lnTo>
                  <a:pt x="277368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9445752" y="384047"/>
            <a:ext cx="277368" cy="27127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" name="object 5"/>
          <p:cNvGrpSpPr/>
          <p:nvPr/>
        </p:nvGrpSpPr>
        <p:grpSpPr>
          <a:xfrm>
            <a:off x="10663428" y="48767"/>
            <a:ext cx="1117600" cy="274320"/>
            <a:chOff x="10663428" y="48767"/>
            <a:chExt cx="1117600" cy="274320"/>
          </a:xfrm>
        </p:grpSpPr>
        <p:sp>
          <p:nvSpPr>
            <p:cNvPr id="6" name="object 6"/>
            <p:cNvSpPr/>
            <p:nvPr/>
          </p:nvSpPr>
          <p:spPr>
            <a:xfrm>
              <a:off x="10663428" y="51815"/>
              <a:ext cx="277368" cy="27127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0920984" y="48767"/>
              <a:ext cx="859790" cy="196850"/>
            </a:xfrm>
            <a:custGeom>
              <a:avLst/>
              <a:gdLst/>
              <a:ahLst/>
              <a:cxnLst/>
              <a:rect l="l" t="t" r="r" b="b"/>
              <a:pathLst>
                <a:path w="859790" h="196850">
                  <a:moveTo>
                    <a:pt x="859535" y="0"/>
                  </a:moveTo>
                  <a:lnTo>
                    <a:pt x="0" y="0"/>
                  </a:lnTo>
                  <a:lnTo>
                    <a:pt x="0" y="196596"/>
                  </a:lnTo>
                  <a:lnTo>
                    <a:pt x="859535" y="196596"/>
                  </a:lnTo>
                  <a:lnTo>
                    <a:pt x="8595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/>
          <p:nvPr/>
        </p:nvSpPr>
        <p:spPr>
          <a:xfrm>
            <a:off x="10652759" y="441959"/>
            <a:ext cx="277495" cy="271780"/>
          </a:xfrm>
          <a:custGeom>
            <a:avLst/>
            <a:gdLst/>
            <a:ahLst/>
            <a:cxnLst/>
            <a:rect l="l" t="t" r="r" b="b"/>
            <a:pathLst>
              <a:path w="277495" h="271780">
                <a:moveTo>
                  <a:pt x="277368" y="0"/>
                </a:moveTo>
                <a:lnTo>
                  <a:pt x="0" y="0"/>
                </a:lnTo>
                <a:lnTo>
                  <a:pt x="0" y="271272"/>
                </a:lnTo>
                <a:lnTo>
                  <a:pt x="277368" y="271272"/>
                </a:lnTo>
                <a:lnTo>
                  <a:pt x="27736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9793351" y="93979"/>
            <a:ext cx="68008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5" dirty="0">
                <a:latin typeface="Arial"/>
                <a:cs typeface="Arial"/>
              </a:rPr>
              <a:t>Com</a:t>
            </a:r>
            <a:r>
              <a:rPr sz="1000" b="1" dirty="0">
                <a:latin typeface="Arial"/>
                <a:cs typeface="Arial"/>
              </a:rPr>
              <a:t>p</a:t>
            </a:r>
            <a:r>
              <a:rPr sz="1000" b="1" spc="-5" dirty="0">
                <a:latin typeface="Arial"/>
                <a:cs typeface="Arial"/>
              </a:rPr>
              <a:t>leted</a:t>
            </a:r>
            <a:endParaRPr sz="10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793351" y="441705"/>
            <a:ext cx="6337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5" dirty="0">
                <a:latin typeface="Arial"/>
                <a:cs typeface="Arial"/>
              </a:rPr>
              <a:t>On-Target</a:t>
            </a:r>
            <a:endParaRPr sz="10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000358" y="86360"/>
            <a:ext cx="6407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5" dirty="0">
                <a:latin typeface="Arial"/>
                <a:cs typeface="Arial"/>
              </a:rPr>
              <a:t>Off-Target</a:t>
            </a:r>
            <a:endParaRPr sz="10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9752838" y="760552"/>
            <a:ext cx="9105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5" dirty="0">
                <a:latin typeface="Arial"/>
                <a:cs typeface="Arial"/>
              </a:rPr>
              <a:t>Not started</a:t>
            </a:r>
            <a:r>
              <a:rPr sz="1000" b="1" spc="-60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yet</a:t>
            </a:r>
            <a:endParaRPr sz="10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9445752" y="762000"/>
            <a:ext cx="277495" cy="271780"/>
          </a:xfrm>
          <a:custGeom>
            <a:avLst/>
            <a:gdLst/>
            <a:ahLst/>
            <a:cxnLst/>
            <a:rect l="l" t="t" r="r" b="b"/>
            <a:pathLst>
              <a:path w="277495" h="271780">
                <a:moveTo>
                  <a:pt x="0" y="271272"/>
                </a:moveTo>
                <a:lnTo>
                  <a:pt x="277368" y="271272"/>
                </a:lnTo>
                <a:lnTo>
                  <a:pt x="277368" y="0"/>
                </a:lnTo>
                <a:lnTo>
                  <a:pt x="0" y="0"/>
                </a:lnTo>
                <a:lnTo>
                  <a:pt x="0" y="271272"/>
                </a:lnTo>
                <a:close/>
              </a:path>
            </a:pathLst>
          </a:custGeom>
          <a:ln w="12192">
            <a:solidFill>
              <a:srgbClr val="33CC3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381702" y="309975"/>
            <a:ext cx="6725531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000" dirty="0">
                <a:solidFill>
                  <a:srgbClr val="000000"/>
                </a:solidFill>
              </a:rPr>
              <a:t>Establishment of </a:t>
            </a:r>
            <a:r>
              <a:rPr sz="2000" spc="-30" dirty="0">
                <a:solidFill>
                  <a:srgbClr val="000000"/>
                </a:solidFill>
              </a:rPr>
              <a:t>PAEDS </a:t>
            </a:r>
            <a:r>
              <a:rPr sz="2000" dirty="0">
                <a:solidFill>
                  <a:srgbClr val="000000"/>
                </a:solidFill>
              </a:rPr>
              <a:t>Hospital at District</a:t>
            </a:r>
            <a:r>
              <a:rPr sz="2000" spc="-120" dirty="0">
                <a:solidFill>
                  <a:srgbClr val="000000"/>
                </a:solidFill>
              </a:rPr>
              <a:t> </a:t>
            </a:r>
            <a:r>
              <a:rPr sz="2000" dirty="0">
                <a:solidFill>
                  <a:srgbClr val="000000"/>
                </a:solidFill>
              </a:rPr>
              <a:t>Swat  (300 beds Phase-I) </a:t>
            </a:r>
            <a:r>
              <a:rPr sz="1600" i="1" dirty="0">
                <a:solidFill>
                  <a:srgbClr val="000000"/>
                </a:solidFill>
              </a:rPr>
              <a:t>(Project cost/Allocation/Release/Exp)</a:t>
            </a:r>
            <a:endParaRPr sz="2000" i="1" dirty="0"/>
          </a:p>
        </p:txBody>
      </p:sp>
      <p:graphicFrame>
        <p:nvGraphicFramePr>
          <p:cNvPr id="15" name="object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5650201"/>
              </p:ext>
            </p:extLst>
          </p:nvPr>
        </p:nvGraphicFramePr>
        <p:xfrm>
          <a:off x="561109" y="1245109"/>
          <a:ext cx="11219665" cy="53061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58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501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508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83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7476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345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3503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82295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 marL="91440" algn="ctr">
                        <a:lnSpc>
                          <a:spcPct val="100000"/>
                        </a:lnSpc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N</a:t>
                      </a:r>
                      <a:endParaRPr sz="1200" dirty="0">
                        <a:latin typeface="Arial"/>
                        <a:cs typeface="Arial"/>
                      </a:endParaRPr>
                    </a:p>
                    <a:p>
                      <a:pPr marL="91440" algn="ctr">
                        <a:lnSpc>
                          <a:spcPct val="100000"/>
                        </a:lnSpc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.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50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18672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marL="91440" algn="ctr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ctivity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18672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marL="91440" algn="ctr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urrent</a:t>
                      </a: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tatus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8672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marL="92075" algn="ctr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200" b="1" spc="-2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Way </a:t>
                      </a:r>
                      <a:r>
                        <a:rPr sz="12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orwar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18672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marL="92075" algn="ctr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2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esponsibility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18672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marL="92075" algn="ctr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imeline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18672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92075" algn="ctr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2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/L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1867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9674">
                <a:tc>
                  <a:txBody>
                    <a:bodyPr/>
                    <a:lstStyle/>
                    <a:p>
                      <a:pPr marL="91440" algn="ctr">
                        <a:lnSpc>
                          <a:spcPct val="100000"/>
                        </a:lnSpc>
                        <a:spcBef>
                          <a:spcPts val="980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marL="0" marR="0" marT="12446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 marR="113664" algn="l">
                        <a:lnSpc>
                          <a:spcPts val="1660"/>
                        </a:lnSpc>
                        <a:spcBef>
                          <a:spcPts val="6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Summary for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Transfer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40</a:t>
                      </a:r>
                      <a:r>
                        <a:rPr sz="1200" spc="-1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Kanal 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lan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25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Summary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approved by</a:t>
                      </a:r>
                      <a:r>
                        <a:rPr sz="1200" spc="-9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HCM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508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1050">
                        <a:latin typeface="Times New Roman"/>
                        <a:cs typeface="Times New Roman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Complet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635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6921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Health</a:t>
                      </a:r>
                      <a:r>
                        <a:rPr sz="12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Deptt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50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254000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30-7-2020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6032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120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350" dirty="0">
                        <a:latin typeface="Times New Roman"/>
                        <a:cs typeface="Times New Roman"/>
                      </a:endParaRPr>
                    </a:p>
                    <a:p>
                      <a:pPr marL="9144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2</a:t>
                      </a:r>
                    </a:p>
                  </a:txBody>
                  <a:tcPr marL="0" marR="0" marT="50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68580" algn="l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Demarcatio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200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lan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50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50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35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50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032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4383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50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50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Finalized by </a:t>
                      </a:r>
                      <a:r>
                        <a:rPr sz="1200" spc="-20" dirty="0">
                          <a:latin typeface="Arial"/>
                          <a:cs typeface="Arial"/>
                        </a:rPr>
                        <a:t>Technical</a:t>
                      </a:r>
                      <a:r>
                        <a:rPr sz="1200" spc="-8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Committee</a:t>
                      </a:r>
                      <a:endParaRPr sz="1200">
                        <a:latin typeface="Arial"/>
                        <a:cs typeface="Arial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and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sit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handed over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consultant</a:t>
                      </a:r>
                      <a:r>
                        <a:rPr sz="1200" spc="-10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.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Complet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571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150">
                        <a:latin typeface="Times New Roman"/>
                        <a:cs typeface="Times New Roman"/>
                      </a:endParaRPr>
                    </a:p>
                    <a:p>
                      <a:pPr marL="6921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P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444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150">
                        <a:latin typeface="Times New Roman"/>
                        <a:cs typeface="Times New Roman"/>
                      </a:endParaRPr>
                    </a:p>
                    <a:p>
                      <a:pPr marL="23304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Complet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444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2716">
                <a:tc>
                  <a:txBody>
                    <a:bodyPr/>
                    <a:lstStyle/>
                    <a:p>
                      <a:pPr marL="91440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3</a:t>
                      </a:r>
                    </a:p>
                  </a:txBody>
                  <a:tcPr marL="0" marR="0" marT="10604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 algn="l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PC-II/ Administrative</a:t>
                      </a:r>
                      <a:r>
                        <a:rPr sz="1200" spc="-1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Approval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PC-II approved by </a:t>
                      </a:r>
                      <a:r>
                        <a:rPr sz="1200" spc="5" dirty="0">
                          <a:latin typeface="Arial"/>
                          <a:cs typeface="Arial"/>
                        </a:rPr>
                        <a:t>PDWP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&amp;</a:t>
                      </a:r>
                      <a:r>
                        <a:rPr sz="1200" spc="-1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AA</a:t>
                      </a:r>
                      <a:endParaRPr sz="1200">
                        <a:latin typeface="Arial"/>
                        <a:cs typeface="Arial"/>
                      </a:endParaRPr>
                    </a:p>
                    <a:p>
                      <a:pPr marL="68580">
                        <a:lnSpc>
                          <a:spcPts val="1360"/>
                        </a:lnSpc>
                        <a:spcBef>
                          <a:spcPts val="21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Issued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on</a:t>
                      </a:r>
                      <a:r>
                        <a:rPr sz="12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03-02-2020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Complet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0604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9215">
                        <a:lnSpc>
                          <a:spcPct val="100000"/>
                        </a:lnSpc>
                        <a:spcBef>
                          <a:spcPts val="880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P&amp;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1176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33045">
                        <a:lnSpc>
                          <a:spcPct val="100000"/>
                        </a:lnSpc>
                        <a:spcBef>
                          <a:spcPts val="880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Complet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1176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280">
                <a:tc>
                  <a:txBody>
                    <a:bodyPr/>
                    <a:lstStyle/>
                    <a:p>
                      <a:pPr marL="91440"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4</a:t>
                      </a:r>
                    </a:p>
                  </a:txBody>
                  <a:tcPr marL="0" marR="0" marT="13589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 algn="l">
                        <a:lnSpc>
                          <a:spcPct val="100000"/>
                        </a:lnSpc>
                      </a:pPr>
                      <a:endParaRPr lang="en-US" sz="1200" spc="-5" dirty="0">
                        <a:latin typeface="Arial"/>
                        <a:cs typeface="Arial"/>
                      </a:endParaRPr>
                    </a:p>
                    <a:p>
                      <a:pPr marL="68580" algn="l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Appointment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2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PD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571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Complet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Complet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3589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9215">
                        <a:lnSpc>
                          <a:spcPct val="100000"/>
                        </a:lnSpc>
                        <a:spcBef>
                          <a:spcPts val="111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Health</a:t>
                      </a:r>
                      <a:r>
                        <a:rPr sz="12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Deptt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4160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33045">
                        <a:lnSpc>
                          <a:spcPct val="100000"/>
                        </a:lnSpc>
                        <a:spcBef>
                          <a:spcPts val="111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Complet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4160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759">
                <a:tc>
                  <a:txBody>
                    <a:bodyPr/>
                    <a:lstStyle/>
                    <a:p>
                      <a:pPr marL="91440" algn="ctr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5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826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 algn="l">
                        <a:lnSpc>
                          <a:spcPts val="141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Preparatio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Design</a:t>
                      </a:r>
                      <a:r>
                        <a:rPr sz="120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20" dirty="0">
                          <a:latin typeface="Arial"/>
                          <a:cs typeface="Arial"/>
                        </a:rPr>
                        <a:t>(Two</a:t>
                      </a:r>
                      <a:endParaRPr sz="1200" dirty="0">
                        <a:latin typeface="Arial"/>
                        <a:cs typeface="Arial"/>
                      </a:endParaRPr>
                    </a:p>
                    <a:p>
                      <a:pPr marL="68580" algn="l">
                        <a:lnSpc>
                          <a:spcPts val="1365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Phases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Desig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discussed &amp;</a:t>
                      </a:r>
                      <a:r>
                        <a:rPr sz="120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finaliz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826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Complet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826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9215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PD/Consultant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826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1200" spc="-20" dirty="0">
                          <a:latin typeface="Arial"/>
                          <a:cs typeface="Arial"/>
                        </a:rPr>
                        <a:t>11</a:t>
                      </a:r>
                      <a:r>
                        <a:rPr sz="1200" spc="-30" baseline="24305" dirty="0">
                          <a:latin typeface="Arial"/>
                          <a:cs typeface="Arial"/>
                        </a:rPr>
                        <a:t>th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Sept,</a:t>
                      </a:r>
                      <a:r>
                        <a:rPr sz="1200" spc="-1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2020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826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03378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550">
                        <a:latin typeface="Times New Roman"/>
                        <a:cs typeface="Times New Roman"/>
                      </a:endParaRPr>
                    </a:p>
                    <a:p>
                      <a:pPr marL="9144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6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68580" marR="481330" algn="l">
                        <a:lnSpc>
                          <a:spcPct val="114999"/>
                        </a:lnSpc>
                        <a:spcBef>
                          <a:spcPts val="830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Approval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PC-1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300</a:t>
                      </a:r>
                      <a:r>
                        <a:rPr sz="1200" spc="-9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bed  hospital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5580" indent="-127635">
                        <a:lnSpc>
                          <a:spcPct val="100000"/>
                        </a:lnSpc>
                        <a:spcBef>
                          <a:spcPts val="55"/>
                        </a:spcBef>
                        <a:buAutoNum type="romanLcParenR"/>
                        <a:tabLst>
                          <a:tab pos="196215" algn="l"/>
                        </a:tabLst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Summary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moved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&amp;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approved</a:t>
                      </a:r>
                      <a:r>
                        <a:rPr sz="1200" spc="-8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by</a:t>
                      </a:r>
                      <a:endParaRPr sz="1200">
                        <a:latin typeface="Arial"/>
                        <a:cs typeface="Arial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HCM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enhance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2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cost.</a:t>
                      </a:r>
                      <a:endParaRPr sz="1200">
                        <a:latin typeface="Arial"/>
                        <a:cs typeface="Arial"/>
                      </a:endParaRPr>
                    </a:p>
                    <a:p>
                      <a:pPr marL="68580" marR="245745">
                        <a:lnSpc>
                          <a:spcPct val="114999"/>
                        </a:lnSpc>
                        <a:buAutoNum type="romanLcParenR" startAt="2"/>
                        <a:tabLst>
                          <a:tab pos="229235" algn="l"/>
                        </a:tabLst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PC-I prepared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for 2.75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billion</a:t>
                      </a:r>
                      <a:r>
                        <a:rPr sz="1200" spc="-9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&amp;  cleared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in</a:t>
                      </a:r>
                      <a:r>
                        <a:rPr sz="12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5" dirty="0">
                          <a:latin typeface="Arial"/>
                          <a:cs typeface="Arial"/>
                        </a:rPr>
                        <a:t>PDWP</a:t>
                      </a:r>
                      <a:endParaRPr sz="1200">
                        <a:latin typeface="Arial"/>
                        <a:cs typeface="Arial"/>
                      </a:endParaRPr>
                    </a:p>
                    <a:p>
                      <a:pPr marL="68580">
                        <a:lnSpc>
                          <a:spcPts val="1360"/>
                        </a:lnSpc>
                        <a:spcBef>
                          <a:spcPts val="21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iii.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Admin. Approval</a:t>
                      </a:r>
                      <a:r>
                        <a:rPr sz="1200" b="1" spc="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dirty="0">
                          <a:latin typeface="Arial"/>
                          <a:cs typeface="Arial"/>
                        </a:rPr>
                        <a:t>Issu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550">
                        <a:latin typeface="Times New Roman"/>
                        <a:cs typeface="Times New Roman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</a:pPr>
                      <a:r>
                        <a:rPr sz="1200" spc="-5" dirty="0">
                          <a:solidFill>
                            <a:srgbClr val="0D0D0D"/>
                          </a:solidFill>
                          <a:latin typeface="Arial"/>
                          <a:cs typeface="Arial"/>
                        </a:rPr>
                        <a:t>Complet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  <a:p>
                      <a:pPr marL="6921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P&amp;D/PD/H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  <a:p>
                      <a:pPr marL="123189">
                        <a:lnSpc>
                          <a:spcPct val="100000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9</a:t>
                      </a:r>
                      <a:r>
                        <a:rPr sz="1200" baseline="24305" dirty="0">
                          <a:latin typeface="Arial"/>
                          <a:cs typeface="Arial"/>
                        </a:rPr>
                        <a:t>TH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Dec,</a:t>
                      </a:r>
                      <a:r>
                        <a:rPr sz="1200" spc="-17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2020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747">
                <a:tc>
                  <a:txBody>
                    <a:bodyPr/>
                    <a:lstStyle/>
                    <a:p>
                      <a:pPr marL="91440" algn="ctr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7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826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 algn="l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Advertisement/Award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2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Contract</a:t>
                      </a:r>
                    </a:p>
                  </a:txBody>
                  <a:tcPr marL="0" marR="0" marT="69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 marR="484505">
                        <a:lnSpc>
                          <a:spcPts val="1440"/>
                        </a:lnSpc>
                        <a:spcBef>
                          <a:spcPts val="20"/>
                        </a:spcBef>
                      </a:pPr>
                      <a:r>
                        <a:rPr lang="en-US" sz="1200" b="1" dirty="0">
                          <a:solidFill>
                            <a:srgbClr val="006837"/>
                          </a:solidFill>
                          <a:latin typeface="Arial"/>
                          <a:cs typeface="Arial"/>
                        </a:rPr>
                        <a:t>Tender awarded. 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54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FDF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1200" b="1" spc="-5" dirty="0">
                          <a:latin typeface="Arial"/>
                          <a:cs typeface="Arial"/>
                        </a:rPr>
                        <a:t>Under</a:t>
                      </a:r>
                      <a:r>
                        <a:rPr sz="12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dirty="0">
                          <a:latin typeface="Arial"/>
                          <a:cs typeface="Arial"/>
                        </a:rPr>
                        <a:t>process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826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9215">
                        <a:lnSpc>
                          <a:spcPct val="100000"/>
                        </a:lnSpc>
                        <a:spcBef>
                          <a:spcPts val="740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Health/C&amp;W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939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65735">
                        <a:lnSpc>
                          <a:spcPct val="100000"/>
                        </a:lnSpc>
                        <a:spcBef>
                          <a:spcPts val="740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10-Feb-2021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9398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2FFD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5686">
                <a:tc>
                  <a:txBody>
                    <a:bodyPr/>
                    <a:lstStyle/>
                    <a:p>
                      <a:pPr marL="91440" algn="ctr">
                        <a:lnSpc>
                          <a:spcPct val="100000"/>
                        </a:lnSpc>
                        <a:spcBef>
                          <a:spcPts val="969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8</a:t>
                      </a:r>
                    </a:p>
                  </a:txBody>
                  <a:tcPr marL="0" marR="0" marT="123189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 algn="l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Commencement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civil</a:t>
                      </a:r>
                      <a:r>
                        <a:rPr sz="1200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works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lang="en-US" sz="1200" b="1" spc="-5" dirty="0">
                          <a:solidFill>
                            <a:srgbClr val="196726"/>
                          </a:solidFill>
                          <a:latin typeface="Arial"/>
                          <a:cs typeface="Arial"/>
                        </a:rPr>
                        <a:t>Contractor Mobilized and batching plant being setup</a:t>
                      </a:r>
                      <a:endParaRPr sz="1200" dirty="0">
                        <a:solidFill>
                          <a:srgbClr val="196726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FDF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969"/>
                        </a:spcBef>
                      </a:pPr>
                      <a:r>
                        <a:rPr lang="en-US" sz="1200" spc="-5" dirty="0" err="1">
                          <a:latin typeface="Arial"/>
                          <a:cs typeface="Arial"/>
                        </a:rPr>
                        <a:t>Boundry</a:t>
                      </a:r>
                      <a:r>
                        <a:rPr lang="en-US" sz="1200" spc="-5" dirty="0">
                          <a:latin typeface="Arial"/>
                          <a:cs typeface="Arial"/>
                        </a:rPr>
                        <a:t> wall u/c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123189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9215">
                        <a:lnSpc>
                          <a:spcPct val="100000"/>
                        </a:lnSpc>
                        <a:spcBef>
                          <a:spcPts val="1015"/>
                        </a:spcBef>
                      </a:pPr>
                      <a:r>
                        <a:rPr lang="en-US" sz="1200" spc="-5" dirty="0">
                          <a:latin typeface="Arial"/>
                          <a:cs typeface="Arial"/>
                        </a:rPr>
                        <a:t>DC Swat, AAG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12890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8765">
                        <a:lnSpc>
                          <a:spcPct val="100000"/>
                        </a:lnSpc>
                        <a:spcBef>
                          <a:spcPts val="1015"/>
                        </a:spcBef>
                      </a:pPr>
                      <a:r>
                        <a:rPr sz="120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Feb</a:t>
                      </a:r>
                      <a:r>
                        <a:rPr sz="1200" spc="-25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2021</a:t>
                      </a:r>
                      <a:br>
                        <a:rPr lang="en-US" sz="1200" dirty="0">
                          <a:latin typeface="Arial"/>
                          <a:cs typeface="Arial"/>
                        </a:rPr>
                      </a:br>
                      <a:r>
                        <a:rPr lang="en-US" sz="1200" dirty="0">
                          <a:latin typeface="Arial"/>
                          <a:cs typeface="Arial"/>
                        </a:rPr>
                        <a:t>June 21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12890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3049">
                <a:tc>
                  <a:txBody>
                    <a:bodyPr/>
                    <a:lstStyle/>
                    <a:p>
                      <a:pPr marL="91440" algn="ctr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9</a:t>
                      </a:r>
                    </a:p>
                  </a:txBody>
                  <a:tcPr marL="0" marR="0" marT="6667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 algn="l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Completion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762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Not yet</a:t>
                      </a:r>
                      <a:r>
                        <a:rPr sz="12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started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6667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9215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C&amp;W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1145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200" b="1" spc="-5" dirty="0">
                          <a:latin typeface="Arial"/>
                          <a:cs typeface="Arial"/>
                        </a:rPr>
                        <a:t>Dec</a:t>
                      </a:r>
                      <a:r>
                        <a:rPr sz="1200" b="1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2022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6" name="object 16"/>
          <p:cNvSpPr/>
          <p:nvPr/>
        </p:nvSpPr>
        <p:spPr>
          <a:xfrm>
            <a:off x="11250168" y="2724911"/>
            <a:ext cx="241300" cy="216535"/>
          </a:xfrm>
          <a:custGeom>
            <a:avLst/>
            <a:gdLst/>
            <a:ahLst/>
            <a:cxnLst/>
            <a:rect l="l" t="t" r="r" b="b"/>
            <a:pathLst>
              <a:path w="241300" h="216535">
                <a:moveTo>
                  <a:pt x="240792" y="0"/>
                </a:moveTo>
                <a:lnTo>
                  <a:pt x="0" y="0"/>
                </a:lnTo>
                <a:lnTo>
                  <a:pt x="0" y="216408"/>
                </a:lnTo>
                <a:lnTo>
                  <a:pt x="240792" y="216408"/>
                </a:lnTo>
                <a:lnTo>
                  <a:pt x="240792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11250168" y="3566159"/>
            <a:ext cx="241300" cy="213360"/>
          </a:xfrm>
          <a:custGeom>
            <a:avLst/>
            <a:gdLst/>
            <a:ahLst/>
            <a:cxnLst/>
            <a:rect l="l" t="t" r="r" b="b"/>
            <a:pathLst>
              <a:path w="241300" h="213360">
                <a:moveTo>
                  <a:pt x="240792" y="0"/>
                </a:moveTo>
                <a:lnTo>
                  <a:pt x="0" y="0"/>
                </a:lnTo>
                <a:lnTo>
                  <a:pt x="0" y="213359"/>
                </a:lnTo>
                <a:lnTo>
                  <a:pt x="240792" y="213359"/>
                </a:lnTo>
                <a:lnTo>
                  <a:pt x="240792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1250168" y="2193035"/>
            <a:ext cx="241300" cy="219710"/>
          </a:xfrm>
          <a:custGeom>
            <a:avLst/>
            <a:gdLst/>
            <a:ahLst/>
            <a:cxnLst/>
            <a:rect l="l" t="t" r="r" b="b"/>
            <a:pathLst>
              <a:path w="241300" h="219710">
                <a:moveTo>
                  <a:pt x="240792" y="0"/>
                </a:moveTo>
                <a:lnTo>
                  <a:pt x="0" y="0"/>
                </a:lnTo>
                <a:lnTo>
                  <a:pt x="0" y="219456"/>
                </a:lnTo>
                <a:lnTo>
                  <a:pt x="240792" y="219456"/>
                </a:lnTo>
                <a:lnTo>
                  <a:pt x="240792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11250168" y="3150107"/>
            <a:ext cx="241300" cy="213360"/>
          </a:xfrm>
          <a:custGeom>
            <a:avLst/>
            <a:gdLst/>
            <a:ahLst/>
            <a:cxnLst/>
            <a:rect l="l" t="t" r="r" b="b"/>
            <a:pathLst>
              <a:path w="241300" h="213360">
                <a:moveTo>
                  <a:pt x="240792" y="0"/>
                </a:moveTo>
                <a:lnTo>
                  <a:pt x="0" y="0"/>
                </a:lnTo>
                <a:lnTo>
                  <a:pt x="0" y="213360"/>
                </a:lnTo>
                <a:lnTo>
                  <a:pt x="240792" y="213360"/>
                </a:lnTo>
                <a:lnTo>
                  <a:pt x="240792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1250168" y="3998976"/>
            <a:ext cx="241300" cy="213360"/>
          </a:xfrm>
          <a:custGeom>
            <a:avLst/>
            <a:gdLst/>
            <a:ahLst/>
            <a:cxnLst/>
            <a:rect l="l" t="t" r="r" b="b"/>
            <a:pathLst>
              <a:path w="241300" h="213360">
                <a:moveTo>
                  <a:pt x="240792" y="0"/>
                </a:moveTo>
                <a:lnTo>
                  <a:pt x="0" y="0"/>
                </a:lnTo>
                <a:lnTo>
                  <a:pt x="0" y="213360"/>
                </a:lnTo>
                <a:lnTo>
                  <a:pt x="240792" y="213360"/>
                </a:lnTo>
                <a:lnTo>
                  <a:pt x="240792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1256568" y="6232027"/>
            <a:ext cx="233679" cy="224154"/>
          </a:xfrm>
          <a:custGeom>
            <a:avLst/>
            <a:gdLst/>
            <a:ahLst/>
            <a:cxnLst/>
            <a:rect l="l" t="t" r="r" b="b"/>
            <a:pathLst>
              <a:path w="233679" h="224154">
                <a:moveTo>
                  <a:pt x="0" y="224028"/>
                </a:moveTo>
                <a:lnTo>
                  <a:pt x="233172" y="224028"/>
                </a:lnTo>
                <a:lnTo>
                  <a:pt x="233172" y="0"/>
                </a:lnTo>
                <a:lnTo>
                  <a:pt x="0" y="0"/>
                </a:lnTo>
                <a:lnTo>
                  <a:pt x="0" y="224028"/>
                </a:lnTo>
                <a:close/>
              </a:path>
            </a:pathLst>
          </a:custGeom>
          <a:solidFill>
            <a:srgbClr val="FF0000"/>
          </a:solidFill>
          <a:ln w="12192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1250168" y="4678679"/>
            <a:ext cx="241300" cy="213360"/>
          </a:xfrm>
          <a:custGeom>
            <a:avLst/>
            <a:gdLst/>
            <a:ahLst/>
            <a:cxnLst/>
            <a:rect l="l" t="t" r="r" b="b"/>
            <a:pathLst>
              <a:path w="241300" h="213360">
                <a:moveTo>
                  <a:pt x="240792" y="0"/>
                </a:moveTo>
                <a:lnTo>
                  <a:pt x="0" y="0"/>
                </a:lnTo>
                <a:lnTo>
                  <a:pt x="0" y="213360"/>
                </a:lnTo>
                <a:lnTo>
                  <a:pt x="240792" y="213360"/>
                </a:lnTo>
                <a:lnTo>
                  <a:pt x="240792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4">
            <a:extLst>
              <a:ext uri="{FF2B5EF4-FFF2-40B4-BE49-F238E27FC236}">
                <a16:creationId xmlns:a16="http://schemas.microsoft.com/office/drawing/2014/main" id="{F7E9F649-9389-45B2-8E06-8D72DD0DC297}"/>
              </a:ext>
            </a:extLst>
          </p:cNvPr>
          <p:cNvSpPr/>
          <p:nvPr/>
        </p:nvSpPr>
        <p:spPr>
          <a:xfrm>
            <a:off x="11248947" y="5399531"/>
            <a:ext cx="241300" cy="213360"/>
          </a:xfrm>
          <a:custGeom>
            <a:avLst/>
            <a:gdLst/>
            <a:ahLst/>
            <a:cxnLst/>
            <a:rect l="l" t="t" r="r" b="b"/>
            <a:pathLst>
              <a:path w="241300" h="213360">
                <a:moveTo>
                  <a:pt x="240792" y="0"/>
                </a:moveTo>
                <a:lnTo>
                  <a:pt x="0" y="0"/>
                </a:lnTo>
                <a:lnTo>
                  <a:pt x="0" y="213360"/>
                </a:lnTo>
                <a:lnTo>
                  <a:pt x="240792" y="213360"/>
                </a:lnTo>
                <a:lnTo>
                  <a:pt x="240792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4">
            <a:extLst>
              <a:ext uri="{FF2B5EF4-FFF2-40B4-BE49-F238E27FC236}">
                <a16:creationId xmlns:a16="http://schemas.microsoft.com/office/drawing/2014/main" id="{45327A68-67F5-4AA8-A526-7EB500FF0E67}"/>
              </a:ext>
            </a:extLst>
          </p:cNvPr>
          <p:cNvSpPr/>
          <p:nvPr/>
        </p:nvSpPr>
        <p:spPr>
          <a:xfrm>
            <a:off x="11256568" y="5795777"/>
            <a:ext cx="241300" cy="21971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E33EE33-E4CA-353F-C751-383C0D3E9BBF}"/>
              </a:ext>
            </a:extLst>
          </p:cNvPr>
          <p:cNvSpPr txBox="1"/>
          <p:nvPr/>
        </p:nvSpPr>
        <p:spPr>
          <a:xfrm>
            <a:off x="6882063" y="441705"/>
            <a:ext cx="2293179" cy="62837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4B7D087-E12C-3B87-D4B4-0EF491D78C4B}"/>
              </a:ext>
            </a:extLst>
          </p:cNvPr>
          <p:cNvSpPr txBox="1"/>
          <p:nvPr/>
        </p:nvSpPr>
        <p:spPr>
          <a:xfrm>
            <a:off x="7963658" y="27408"/>
            <a:ext cx="2100901" cy="1316792"/>
          </a:xfrm>
          <a:prstGeom prst="rect">
            <a:avLst/>
          </a:prstGeom>
          <a:solidFill>
            <a:srgbClr val="FFFF00"/>
          </a:solidFill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dirty="0">
                <a:solidFill>
                  <a:srgbClr val="FF0000"/>
                </a:solidFill>
              </a:rPr>
              <a:t>This is a sample format. Each project/ presentation would have its own timelines &amp; milestones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7CA774-63C2-CFDA-6C4B-D67127149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Points</a:t>
            </a:r>
            <a:endParaRPr lang="en-PK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6727E49-3223-6E44-8E66-E0E291261C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5239599"/>
              </p:ext>
            </p:extLst>
          </p:nvPr>
        </p:nvGraphicFramePr>
        <p:xfrm>
          <a:off x="554735" y="1027862"/>
          <a:ext cx="11067771" cy="41816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664">
                  <a:extLst>
                    <a:ext uri="{9D8B030D-6E8A-4147-A177-3AD203B41FA5}">
                      <a16:colId xmlns:a16="http://schemas.microsoft.com/office/drawing/2014/main" val="1666046464"/>
                    </a:ext>
                  </a:extLst>
                </a:gridCol>
                <a:gridCol w="3278475">
                  <a:extLst>
                    <a:ext uri="{9D8B030D-6E8A-4147-A177-3AD203B41FA5}">
                      <a16:colId xmlns:a16="http://schemas.microsoft.com/office/drawing/2014/main" val="25566665"/>
                    </a:ext>
                  </a:extLst>
                </a:gridCol>
                <a:gridCol w="2802681">
                  <a:extLst>
                    <a:ext uri="{9D8B030D-6E8A-4147-A177-3AD203B41FA5}">
                      <a16:colId xmlns:a16="http://schemas.microsoft.com/office/drawing/2014/main" val="2157276936"/>
                    </a:ext>
                  </a:extLst>
                </a:gridCol>
                <a:gridCol w="2257357">
                  <a:extLst>
                    <a:ext uri="{9D8B030D-6E8A-4147-A177-3AD203B41FA5}">
                      <a16:colId xmlns:a16="http://schemas.microsoft.com/office/drawing/2014/main" val="277090377"/>
                    </a:ext>
                  </a:extLst>
                </a:gridCol>
                <a:gridCol w="1858594">
                  <a:extLst>
                    <a:ext uri="{9D8B030D-6E8A-4147-A177-3AD203B41FA5}">
                      <a16:colId xmlns:a16="http://schemas.microsoft.com/office/drawing/2014/main" val="308904710"/>
                    </a:ext>
                  </a:extLst>
                </a:gridCol>
              </a:tblGrid>
              <a:tr h="644527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 err="1">
                          <a:effectLst/>
                          <a:latin typeface="+mj-lt"/>
                        </a:rPr>
                        <a:t>S.No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sue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y forward</a:t>
                      </a:r>
                      <a:endParaRPr lang="en-GB" sz="2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  <a:latin typeface="+mj-lt"/>
                        </a:rPr>
                        <a:t>Responsibility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  <a:latin typeface="+mj-lt"/>
                        </a:rPr>
                        <a:t>Timeline</a:t>
                      </a: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3559274457"/>
                  </a:ext>
                </a:extLst>
              </a:tr>
              <a:tr h="498585">
                <a:tc>
                  <a:txBody>
                    <a:bodyPr/>
                    <a:lstStyle/>
                    <a:p>
                      <a:pPr algn="l" fontAlgn="b"/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1755484654"/>
                  </a:ext>
                </a:extLst>
              </a:tr>
              <a:tr h="498585">
                <a:tc>
                  <a:txBody>
                    <a:bodyPr/>
                    <a:lstStyle/>
                    <a:p>
                      <a:pPr algn="l" fontAlgn="b"/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1750633834"/>
                  </a:ext>
                </a:extLst>
              </a:tr>
              <a:tr h="498585">
                <a:tc>
                  <a:txBody>
                    <a:bodyPr/>
                    <a:lstStyle/>
                    <a:p>
                      <a:pPr algn="l" fontAlgn="b"/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1591762162"/>
                  </a:ext>
                </a:extLst>
              </a:tr>
              <a:tr h="498585">
                <a:tc>
                  <a:txBody>
                    <a:bodyPr/>
                    <a:lstStyle/>
                    <a:p>
                      <a:pPr algn="l" fontAlgn="b"/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3685347690"/>
                  </a:ext>
                </a:extLst>
              </a:tr>
              <a:tr h="545594">
                <a:tc>
                  <a:txBody>
                    <a:bodyPr/>
                    <a:lstStyle/>
                    <a:p>
                      <a:pPr algn="l" fontAlgn="b"/>
                      <a:endParaRPr lang="en-GB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2749951686"/>
                  </a:ext>
                </a:extLst>
              </a:tr>
              <a:tr h="498585">
                <a:tc>
                  <a:txBody>
                    <a:bodyPr/>
                    <a:lstStyle/>
                    <a:p>
                      <a:pPr algn="l" fontAlgn="b"/>
                      <a:endParaRPr lang="en-GB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1222840802"/>
                  </a:ext>
                </a:extLst>
              </a:tr>
              <a:tr h="498585">
                <a:tc>
                  <a:txBody>
                    <a:bodyPr/>
                    <a:lstStyle/>
                    <a:p>
                      <a:pPr algn="l" fontAlgn="b"/>
                      <a:endParaRPr lang="en-GB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278236827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250DB0E-2D2C-4840-8D7C-E7A77DC890AF}"/>
              </a:ext>
            </a:extLst>
          </p:cNvPr>
          <p:cNvSpPr txBox="1"/>
          <p:nvPr/>
        </p:nvSpPr>
        <p:spPr>
          <a:xfrm>
            <a:off x="459043" y="6418986"/>
            <a:ext cx="69465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</a:t>
            </a:r>
            <a:endParaRPr lang="en-PK" sz="1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D471A3-1D90-767D-6D83-02FEFFA7D3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9151405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6C804-51C5-0BC6-F07B-27189EB169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6491F5-7518-03CE-78B4-8D7CDB3A3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tical Pendency</a:t>
            </a:r>
            <a:endParaRPr lang="en-PK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4C0FCC6-010B-326D-C364-8F435E1B5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9917555"/>
              </p:ext>
            </p:extLst>
          </p:nvPr>
        </p:nvGraphicFramePr>
        <p:xfrm>
          <a:off x="554735" y="1027862"/>
          <a:ext cx="11067770" cy="42966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5477">
                  <a:extLst>
                    <a:ext uri="{9D8B030D-6E8A-4147-A177-3AD203B41FA5}">
                      <a16:colId xmlns:a16="http://schemas.microsoft.com/office/drawing/2014/main" val="1666046464"/>
                    </a:ext>
                  </a:extLst>
                </a:gridCol>
                <a:gridCol w="2807085">
                  <a:extLst>
                    <a:ext uri="{9D8B030D-6E8A-4147-A177-3AD203B41FA5}">
                      <a16:colId xmlns:a16="http://schemas.microsoft.com/office/drawing/2014/main" val="25566665"/>
                    </a:ext>
                  </a:extLst>
                </a:gridCol>
                <a:gridCol w="2399703">
                  <a:extLst>
                    <a:ext uri="{9D8B030D-6E8A-4147-A177-3AD203B41FA5}">
                      <a16:colId xmlns:a16="http://schemas.microsoft.com/office/drawing/2014/main" val="2157276936"/>
                    </a:ext>
                  </a:extLst>
                </a:gridCol>
                <a:gridCol w="1932787">
                  <a:extLst>
                    <a:ext uri="{9D8B030D-6E8A-4147-A177-3AD203B41FA5}">
                      <a16:colId xmlns:a16="http://schemas.microsoft.com/office/drawing/2014/main" val="277090377"/>
                    </a:ext>
                  </a:extLst>
                </a:gridCol>
                <a:gridCol w="1591359">
                  <a:extLst>
                    <a:ext uri="{9D8B030D-6E8A-4147-A177-3AD203B41FA5}">
                      <a16:colId xmlns:a16="http://schemas.microsoft.com/office/drawing/2014/main" val="308904710"/>
                    </a:ext>
                  </a:extLst>
                </a:gridCol>
                <a:gridCol w="1591359">
                  <a:extLst>
                    <a:ext uri="{9D8B030D-6E8A-4147-A177-3AD203B41FA5}">
                      <a16:colId xmlns:a16="http://schemas.microsoft.com/office/drawing/2014/main" val="2360675811"/>
                    </a:ext>
                  </a:extLst>
                </a:gridCol>
              </a:tblGrid>
              <a:tr h="644527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 err="1">
                          <a:effectLst/>
                          <a:latin typeface="+mj-lt"/>
                        </a:rPr>
                        <a:t>S.No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i="0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vention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i="0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sued On:</a:t>
                      </a:r>
                      <a:endParaRPr lang="en-GB" sz="2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  <a:latin typeface="+mj-lt"/>
                        </a:rPr>
                        <a:t>Progress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  <a:latin typeface="+mj-lt"/>
                        </a:rPr>
                        <a:t>Timeline</a:t>
                      </a: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  <a:latin typeface="+mj-lt"/>
                        </a:rPr>
                        <a:t>Reason for Delay</a:t>
                      </a: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3559274457"/>
                  </a:ext>
                </a:extLst>
              </a:tr>
              <a:tr h="613611">
                <a:tc>
                  <a:txBody>
                    <a:bodyPr/>
                    <a:lstStyle/>
                    <a:p>
                      <a:pPr algn="l" fontAlgn="b"/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1755484654"/>
                  </a:ext>
                </a:extLst>
              </a:tr>
              <a:tr h="498585">
                <a:tc>
                  <a:txBody>
                    <a:bodyPr/>
                    <a:lstStyle/>
                    <a:p>
                      <a:pPr algn="l" fontAlgn="b"/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1750633834"/>
                  </a:ext>
                </a:extLst>
              </a:tr>
              <a:tr h="498585">
                <a:tc>
                  <a:txBody>
                    <a:bodyPr/>
                    <a:lstStyle/>
                    <a:p>
                      <a:pPr algn="l" fontAlgn="b"/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1591762162"/>
                  </a:ext>
                </a:extLst>
              </a:tr>
              <a:tr h="498585">
                <a:tc>
                  <a:txBody>
                    <a:bodyPr/>
                    <a:lstStyle/>
                    <a:p>
                      <a:pPr algn="l" fontAlgn="b"/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3685347690"/>
                  </a:ext>
                </a:extLst>
              </a:tr>
              <a:tr h="545594">
                <a:tc>
                  <a:txBody>
                    <a:bodyPr/>
                    <a:lstStyle/>
                    <a:p>
                      <a:pPr algn="l" fontAlgn="b"/>
                      <a:endParaRPr lang="en-GB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2749951686"/>
                  </a:ext>
                </a:extLst>
              </a:tr>
              <a:tr h="498585">
                <a:tc>
                  <a:txBody>
                    <a:bodyPr/>
                    <a:lstStyle/>
                    <a:p>
                      <a:pPr algn="l" fontAlgn="b"/>
                      <a:endParaRPr lang="en-GB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1222840802"/>
                  </a:ext>
                </a:extLst>
              </a:tr>
              <a:tr h="498585">
                <a:tc>
                  <a:txBody>
                    <a:bodyPr/>
                    <a:lstStyle/>
                    <a:p>
                      <a:pPr algn="l" fontAlgn="b"/>
                      <a:endParaRPr lang="en-GB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18" marR="9118" marT="9118" marB="0" anchor="ctr"/>
                </a:tc>
                <a:extLst>
                  <a:ext uri="{0D108BD9-81ED-4DB2-BD59-A6C34878D82A}">
                    <a16:rowId xmlns:a16="http://schemas.microsoft.com/office/drawing/2014/main" val="278236827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7D5B45D-5BD0-82B6-079A-AF1AC3FDF68F}"/>
              </a:ext>
            </a:extLst>
          </p:cNvPr>
          <p:cNvSpPr txBox="1"/>
          <p:nvPr/>
        </p:nvSpPr>
        <p:spPr>
          <a:xfrm>
            <a:off x="459043" y="6418986"/>
            <a:ext cx="69465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</a:t>
            </a:r>
            <a:endParaRPr lang="en-PK" sz="1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D63E0E-A821-C4E9-1611-E4984D9AE8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11472730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9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837"/>
      </a:accent1>
      <a:accent2>
        <a:srgbClr val="4B9506"/>
      </a:accent2>
      <a:accent3>
        <a:srgbClr val="57AE07"/>
      </a:accent3>
      <a:accent4>
        <a:srgbClr val="74D41C"/>
      </a:accent4>
      <a:accent5>
        <a:srgbClr val="004614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837"/>
        </a:accent1>
        <a:accent2>
          <a:srgbClr val="4B9506"/>
        </a:accent2>
        <a:accent3>
          <a:srgbClr val="57AE07"/>
        </a:accent3>
        <a:accent4>
          <a:srgbClr val="74D41C"/>
        </a:accent4>
        <a:accent5>
          <a:srgbClr val="004614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3922E"/>
    </a:custClr>
  </a:custClrLst>
  <a:extLst>
    <a:ext uri="{05A4C25C-085E-4340-85A3-A5531E510DB2}">
      <thm15:themeFamily xmlns:thm15="http://schemas.microsoft.com/office/thememl/2012/main" name="KR0137_CF (v4)" id="{C8437B25-9804-4200-B650-2144F1B4888E}" vid="{6B64B7AF-1F53-4991-B3BB-A5097C8BA4E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34</TotalTime>
  <Words>577</Words>
  <Application>Microsoft Office PowerPoint</Application>
  <PresentationFormat>Widescreen</PresentationFormat>
  <Paragraphs>186</Paragraphs>
  <Slides>13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9_White</vt:lpstr>
      <vt:lpstr>Subject of the Meeting</vt:lpstr>
      <vt:lpstr>Overview</vt:lpstr>
      <vt:lpstr>Introduction and Agenda of the meeting</vt:lpstr>
      <vt:lpstr>Current Status &amp; Progress</vt:lpstr>
      <vt:lpstr>Any other necessary slide</vt:lpstr>
      <vt:lpstr>Current Status &amp; Progress</vt:lpstr>
      <vt:lpstr>Establishment of PAEDS Hospital at District Swat  (300 beds Phase-I) (Project cost/Allocation/Release/Exp)</vt:lpstr>
      <vt:lpstr>Decision Points</vt:lpstr>
      <vt:lpstr>Critical Pendency</vt:lpstr>
      <vt:lpstr>PowerPoint Presentation</vt:lpstr>
      <vt:lpstr>Achievements of Department (Optional - if any need to be shown)</vt:lpstr>
      <vt:lpstr>PowerPoint Presentation</vt:lpstr>
      <vt:lpstr>General Instruction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oaib Yousafzai</dc:creator>
  <cp:lastModifiedBy>Abshar khan</cp:lastModifiedBy>
  <cp:revision>387</cp:revision>
  <cp:lastPrinted>2023-06-21T06:56:01Z</cp:lastPrinted>
  <dcterms:created xsi:type="dcterms:W3CDTF">2020-11-15T09:20:09Z</dcterms:created>
  <dcterms:modified xsi:type="dcterms:W3CDTF">2026-04-23T09:20:07Z</dcterms:modified>
</cp:coreProperties>
</file>